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81E19-B85F-D644-5EF3-1DE67C462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29DBCB-E17F-5320-072F-751D505E21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9DBCB-E17F-5320-072F-751D505E2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A112-4986-14CA-6375-FC396C90C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BF37D6-7A28-4832-55EB-A2A1E458D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706921-2332-2357-B322-704A88CFBE83}"/>
              </a:ext>
            </a:extLst>
          </p:cNvPr>
          <p:cNvGrpSpPr/>
          <p:nvPr/>
        </p:nvGrpSpPr>
        <p:grpSpPr>
          <a:xfrm>
            <a:off x="4217307" y="1834504"/>
            <a:ext cx="3751036" cy="3751036"/>
            <a:chOff x="4724258" y="2207161"/>
            <a:chExt cx="2737134" cy="2737133"/>
          </a:xfrm>
        </p:grpSpPr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9600FCF9-1980-EC24-C6BB-6C69D789ED5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4724258" y="2207161"/>
              <a:ext cx="1603375" cy="1603375"/>
            </a:xfrm>
            <a:custGeom>
              <a:avLst/>
              <a:gdLst>
                <a:gd name="T0" fmla="*/ 426 w 426"/>
                <a:gd name="T1" fmla="*/ 213 h 426"/>
                <a:gd name="T2" fmla="*/ 213 w 426"/>
                <a:gd name="T3" fmla="*/ 0 h 426"/>
                <a:gd name="T4" fmla="*/ 0 w 426"/>
                <a:gd name="T5" fmla="*/ 213 h 426"/>
                <a:gd name="T6" fmla="*/ 213 w 426"/>
                <a:gd name="T7" fmla="*/ 426 h 426"/>
                <a:gd name="T8" fmla="*/ 426 w 426"/>
                <a:gd name="T9" fmla="*/ 21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426">
                  <a:moveTo>
                    <a:pt x="426" y="213"/>
                  </a:moveTo>
                  <a:cubicBezTo>
                    <a:pt x="308" y="213"/>
                    <a:pt x="213" y="117"/>
                    <a:pt x="213" y="0"/>
                  </a:cubicBezTo>
                  <a:cubicBezTo>
                    <a:pt x="96" y="0"/>
                    <a:pt x="0" y="95"/>
                    <a:pt x="0" y="213"/>
                  </a:cubicBezTo>
                  <a:cubicBezTo>
                    <a:pt x="0" y="330"/>
                    <a:pt x="96" y="426"/>
                    <a:pt x="213" y="426"/>
                  </a:cubicBezTo>
                  <a:cubicBezTo>
                    <a:pt x="213" y="308"/>
                    <a:pt x="308" y="213"/>
                    <a:pt x="426" y="2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b="1" dirty="0">
                <a:ea typeface="Bebas Neue Bold" charset="0"/>
                <a:cs typeface="Bebas Neue Bold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65230C6-449B-D8DF-9319-733548AA75F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5858017" y="2207161"/>
              <a:ext cx="1603375" cy="1603375"/>
            </a:xfrm>
            <a:custGeom>
              <a:avLst/>
              <a:gdLst>
                <a:gd name="T0" fmla="*/ 213 w 426"/>
                <a:gd name="T1" fmla="*/ 426 h 426"/>
                <a:gd name="T2" fmla="*/ 213 w 426"/>
                <a:gd name="T3" fmla="*/ 426 h 426"/>
                <a:gd name="T4" fmla="*/ 213 w 426"/>
                <a:gd name="T5" fmla="*/ 426 h 426"/>
                <a:gd name="T6" fmla="*/ 426 w 426"/>
                <a:gd name="T7" fmla="*/ 213 h 426"/>
                <a:gd name="T8" fmla="*/ 213 w 426"/>
                <a:gd name="T9" fmla="*/ 0 h 426"/>
                <a:gd name="T10" fmla="*/ 0 w 426"/>
                <a:gd name="T11" fmla="*/ 213 h 426"/>
                <a:gd name="T12" fmla="*/ 213 w 426"/>
                <a:gd name="T13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26">
                  <a:moveTo>
                    <a:pt x="213" y="426"/>
                  </a:moveTo>
                  <a:cubicBezTo>
                    <a:pt x="213" y="426"/>
                    <a:pt x="213" y="426"/>
                    <a:pt x="213" y="426"/>
                  </a:cubicBezTo>
                  <a:cubicBezTo>
                    <a:pt x="213" y="426"/>
                    <a:pt x="213" y="426"/>
                    <a:pt x="213" y="426"/>
                  </a:cubicBezTo>
                  <a:cubicBezTo>
                    <a:pt x="213" y="308"/>
                    <a:pt x="308" y="213"/>
                    <a:pt x="426" y="213"/>
                  </a:cubicBezTo>
                  <a:cubicBezTo>
                    <a:pt x="426" y="95"/>
                    <a:pt x="331" y="0"/>
                    <a:pt x="213" y="0"/>
                  </a:cubicBezTo>
                  <a:cubicBezTo>
                    <a:pt x="95" y="0"/>
                    <a:pt x="0" y="95"/>
                    <a:pt x="0" y="213"/>
                  </a:cubicBezTo>
                  <a:cubicBezTo>
                    <a:pt x="118" y="213"/>
                    <a:pt x="213" y="308"/>
                    <a:pt x="213" y="4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b="1" dirty="0">
                <a:ea typeface="Bebas Neue Bold" charset="0"/>
                <a:cs typeface="Bebas Neue Bold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7CCBBC9-1F01-8CCF-0428-4DC22798857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4724259" y="3340919"/>
              <a:ext cx="1603375" cy="1603375"/>
            </a:xfrm>
            <a:custGeom>
              <a:avLst/>
              <a:gdLst>
                <a:gd name="T0" fmla="*/ 213 w 426"/>
                <a:gd name="T1" fmla="*/ 0 h 426"/>
                <a:gd name="T2" fmla="*/ 0 w 426"/>
                <a:gd name="T3" fmla="*/ 213 h 426"/>
                <a:gd name="T4" fmla="*/ 0 w 426"/>
                <a:gd name="T5" fmla="*/ 213 h 426"/>
                <a:gd name="T6" fmla="*/ 0 w 426"/>
                <a:gd name="T7" fmla="*/ 213 h 426"/>
                <a:gd name="T8" fmla="*/ 213 w 426"/>
                <a:gd name="T9" fmla="*/ 426 h 426"/>
                <a:gd name="T10" fmla="*/ 426 w 426"/>
                <a:gd name="T11" fmla="*/ 213 h 426"/>
                <a:gd name="T12" fmla="*/ 213 w 426"/>
                <a:gd name="T13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26">
                  <a:moveTo>
                    <a:pt x="213" y="0"/>
                  </a:moveTo>
                  <a:cubicBezTo>
                    <a:pt x="213" y="117"/>
                    <a:pt x="118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330"/>
                    <a:pt x="95" y="426"/>
                    <a:pt x="213" y="426"/>
                  </a:cubicBezTo>
                  <a:cubicBezTo>
                    <a:pt x="331" y="426"/>
                    <a:pt x="426" y="330"/>
                    <a:pt x="426" y="213"/>
                  </a:cubicBezTo>
                  <a:cubicBezTo>
                    <a:pt x="308" y="213"/>
                    <a:pt x="213" y="117"/>
                    <a:pt x="21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b="1" dirty="0">
                <a:ea typeface="Bebas Neue Bold" charset="0"/>
                <a:cs typeface="Bebas Neue Bold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67010F53-2A7E-1012-F2F9-FECE15EF7F0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5858016" y="3340919"/>
              <a:ext cx="1603375" cy="1603375"/>
            </a:xfrm>
            <a:custGeom>
              <a:avLst/>
              <a:gdLst>
                <a:gd name="T0" fmla="*/ 213 w 426"/>
                <a:gd name="T1" fmla="*/ 0 h 426"/>
                <a:gd name="T2" fmla="*/ 0 w 426"/>
                <a:gd name="T3" fmla="*/ 213 h 426"/>
                <a:gd name="T4" fmla="*/ 213 w 426"/>
                <a:gd name="T5" fmla="*/ 426 h 426"/>
                <a:gd name="T6" fmla="*/ 426 w 426"/>
                <a:gd name="T7" fmla="*/ 213 h 426"/>
                <a:gd name="T8" fmla="*/ 213 w 426"/>
                <a:gd name="T9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426">
                  <a:moveTo>
                    <a:pt x="213" y="0"/>
                  </a:moveTo>
                  <a:cubicBezTo>
                    <a:pt x="213" y="117"/>
                    <a:pt x="118" y="213"/>
                    <a:pt x="0" y="213"/>
                  </a:cubicBezTo>
                  <a:cubicBezTo>
                    <a:pt x="118" y="213"/>
                    <a:pt x="213" y="308"/>
                    <a:pt x="213" y="426"/>
                  </a:cubicBezTo>
                  <a:cubicBezTo>
                    <a:pt x="331" y="426"/>
                    <a:pt x="426" y="330"/>
                    <a:pt x="426" y="213"/>
                  </a:cubicBezTo>
                  <a:cubicBezTo>
                    <a:pt x="426" y="95"/>
                    <a:pt x="331" y="0"/>
                    <a:pt x="21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b="1" dirty="0">
                <a:ea typeface="Bebas Neue Bold" charset="0"/>
                <a:cs typeface="Bebas Neue Bold" charset="0"/>
              </a:endParaRP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659BE1D6-8A19-90CA-77AB-622441843E7D}"/>
              </a:ext>
            </a:extLst>
          </p:cNvPr>
          <p:cNvSpPr/>
          <p:nvPr/>
        </p:nvSpPr>
        <p:spPr>
          <a:xfrm>
            <a:off x="4601648" y="2219277"/>
            <a:ext cx="815190" cy="815188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  <a:latin typeface="Montserrat Light" panose="00000400000000000000" pitchFamily="50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88E7DBA-34D5-A2E4-5FCE-C2427EA39C71}"/>
              </a:ext>
            </a:extLst>
          </p:cNvPr>
          <p:cNvSpPr/>
          <p:nvPr/>
        </p:nvSpPr>
        <p:spPr>
          <a:xfrm>
            <a:off x="4660071" y="2277699"/>
            <a:ext cx="698346" cy="698344"/>
          </a:xfrm>
          <a:prstGeom prst="ellipse">
            <a:avLst/>
          </a:prstGeom>
          <a:solidFill>
            <a:schemeClr val="accent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6">
              <a:solidFill>
                <a:schemeClr val="bg1"/>
              </a:solidFill>
              <a:latin typeface="Montserrat Light" panose="00000400000000000000" pitchFamily="50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4862E99-318C-710D-D9D3-C216DF17BF55}"/>
              </a:ext>
            </a:extLst>
          </p:cNvPr>
          <p:cNvSpPr/>
          <p:nvPr/>
        </p:nvSpPr>
        <p:spPr>
          <a:xfrm>
            <a:off x="4721506" y="2339134"/>
            <a:ext cx="575474" cy="57547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0" dirty="0">
              <a:solidFill>
                <a:schemeClr val="bg1"/>
              </a:solidFill>
              <a:latin typeface="Montserrat SemiBold" panose="000007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A4004C-50EB-346B-75C8-E9FB28B728F0}"/>
              </a:ext>
            </a:extLst>
          </p:cNvPr>
          <p:cNvSpPr/>
          <p:nvPr/>
        </p:nvSpPr>
        <p:spPr>
          <a:xfrm>
            <a:off x="5055414" y="3475013"/>
            <a:ext cx="605994" cy="43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000" dirty="0">
                <a:solidFill>
                  <a:schemeClr val="accent1"/>
                </a:solidFill>
                <a:latin typeface="Montserrat SemiBold" panose="00000700000000000000" pitchFamily="50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D60329-68ED-C6EB-DB7A-A71655CE5C89}"/>
              </a:ext>
            </a:extLst>
          </p:cNvPr>
          <p:cNvSpPr/>
          <p:nvPr/>
        </p:nvSpPr>
        <p:spPr>
          <a:xfrm>
            <a:off x="5781367" y="2721067"/>
            <a:ext cx="605994" cy="43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000" dirty="0">
                <a:solidFill>
                  <a:schemeClr val="accent2"/>
                </a:solidFill>
                <a:latin typeface="Montserrat SemiBold" panose="00000700000000000000" pitchFamily="50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46A1CD-A231-DDF3-721E-FC1C99EE931C}"/>
              </a:ext>
            </a:extLst>
          </p:cNvPr>
          <p:cNvSpPr/>
          <p:nvPr/>
        </p:nvSpPr>
        <p:spPr>
          <a:xfrm>
            <a:off x="6603974" y="3475013"/>
            <a:ext cx="605994" cy="43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000" dirty="0">
                <a:solidFill>
                  <a:schemeClr val="accent3"/>
                </a:solidFill>
                <a:latin typeface="Montserrat SemiBold" panose="00000700000000000000" pitchFamily="50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9399466-4D64-B7BF-FBBE-F5AAF7159A39}"/>
              </a:ext>
            </a:extLst>
          </p:cNvPr>
          <p:cNvSpPr/>
          <p:nvPr/>
        </p:nvSpPr>
        <p:spPr>
          <a:xfrm>
            <a:off x="5781367" y="4243635"/>
            <a:ext cx="605994" cy="43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000" dirty="0">
                <a:solidFill>
                  <a:schemeClr val="accent4"/>
                </a:solidFill>
                <a:latin typeface="Montserrat SemiBold" panose="00000700000000000000" pitchFamily="50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9FB9A6DD-0C56-16DB-C120-21E209E91328}"/>
              </a:ext>
            </a:extLst>
          </p:cNvPr>
          <p:cNvSpPr txBox="1">
            <a:spLocks/>
          </p:cNvSpPr>
          <p:nvPr/>
        </p:nvSpPr>
        <p:spPr>
          <a:xfrm flipH="1">
            <a:off x="1102637" y="1982264"/>
            <a:ext cx="245816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4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F75EFFD3-4599-DA13-591E-27A2329270EB}"/>
              </a:ext>
            </a:extLst>
          </p:cNvPr>
          <p:cNvSpPr txBox="1">
            <a:spLocks/>
          </p:cNvSpPr>
          <p:nvPr/>
        </p:nvSpPr>
        <p:spPr>
          <a:xfrm>
            <a:off x="8614371" y="1982264"/>
            <a:ext cx="245816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C5696428-D7E6-14CC-91FD-10153A5C8CED}"/>
              </a:ext>
            </a:extLst>
          </p:cNvPr>
          <p:cNvSpPr txBox="1">
            <a:spLocks/>
          </p:cNvSpPr>
          <p:nvPr/>
        </p:nvSpPr>
        <p:spPr>
          <a:xfrm flipH="1">
            <a:off x="8601161" y="4786505"/>
            <a:ext cx="2484583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83F587C2-0E17-1105-827E-6CD9D2892AEA}"/>
              </a:ext>
            </a:extLst>
          </p:cNvPr>
          <p:cNvSpPr txBox="1">
            <a:spLocks/>
          </p:cNvSpPr>
          <p:nvPr/>
        </p:nvSpPr>
        <p:spPr>
          <a:xfrm flipH="1">
            <a:off x="1110736" y="4786505"/>
            <a:ext cx="2441964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accent4"/>
                </a:solidFill>
                <a:latin typeface="+mj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B0FA23E-F817-D7F7-191B-3EBA7CB6891D}"/>
              </a:ext>
            </a:extLst>
          </p:cNvPr>
          <p:cNvGrpSpPr/>
          <p:nvPr/>
        </p:nvGrpSpPr>
        <p:grpSpPr>
          <a:xfrm>
            <a:off x="4601655" y="2219277"/>
            <a:ext cx="815190" cy="815188"/>
            <a:chOff x="8778743" y="853658"/>
            <a:chExt cx="1087632" cy="108763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E3D8A03-7345-806B-CAC2-7197AF1E369E}"/>
                </a:ext>
              </a:extLst>
            </p:cNvPr>
            <p:cNvGrpSpPr/>
            <p:nvPr/>
          </p:nvGrpSpPr>
          <p:grpSpPr>
            <a:xfrm>
              <a:off x="8778743" y="853658"/>
              <a:ext cx="1087632" cy="1087630"/>
              <a:chOff x="912987" y="3985306"/>
              <a:chExt cx="1332461" cy="133246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B77CDD7-556E-5D38-5E8B-6999258FC11C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A927F08-CC89-8F60-AC16-AAC623E69984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1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6030329C-4BC8-E5F9-FA64-CB243AFA12ED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07EDECDD-F012-34BE-FCBF-80F6050224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17174" y="1236976"/>
              <a:ext cx="379686" cy="234064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840">
                <a:solidFill>
                  <a:schemeClr val="tx2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C96F37F-0889-70A7-E8AA-D49D85C7BDD6}"/>
              </a:ext>
            </a:extLst>
          </p:cNvPr>
          <p:cNvGrpSpPr/>
          <p:nvPr/>
        </p:nvGrpSpPr>
        <p:grpSpPr>
          <a:xfrm>
            <a:off x="6735808" y="2219277"/>
            <a:ext cx="815190" cy="815188"/>
            <a:chOff x="10844668" y="853654"/>
            <a:chExt cx="1087629" cy="108762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123A98F-3197-E95B-1DC0-9925E8B94DEB}"/>
                </a:ext>
              </a:extLst>
            </p:cNvPr>
            <p:cNvGrpSpPr/>
            <p:nvPr/>
          </p:nvGrpSpPr>
          <p:grpSpPr>
            <a:xfrm>
              <a:off x="10844668" y="853654"/>
              <a:ext cx="1087629" cy="1087625"/>
              <a:chOff x="912987" y="3985306"/>
              <a:chExt cx="1332461" cy="1332461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41CAF119-5E6B-C5A0-38AB-0DC56CA621AC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2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CF39083B-944E-7516-E1A5-300FFEC31CEC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2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78FB68D-06AF-643E-CD8B-A4ADB27F22B0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F49639B5-F3FA-E0FA-EF28-38B888C91F93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11376265" y="1330948"/>
              <a:ext cx="89142" cy="87960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d-ID" sz="840" dirty="0">
                <a:solidFill>
                  <a:schemeClr val="tx2"/>
                </a:solidFill>
                <a:latin typeface="Lato Ligh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C4990E9-E85E-B13C-A05F-C0D11C0CD538}"/>
              </a:ext>
            </a:extLst>
          </p:cNvPr>
          <p:cNvGrpSpPr/>
          <p:nvPr/>
        </p:nvGrpSpPr>
        <p:grpSpPr>
          <a:xfrm>
            <a:off x="4601641" y="4293470"/>
            <a:ext cx="815190" cy="815188"/>
            <a:chOff x="2580831" y="853664"/>
            <a:chExt cx="1087645" cy="1087637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9EDD295-2732-132F-AD00-DF9993108A22}"/>
                </a:ext>
              </a:extLst>
            </p:cNvPr>
            <p:cNvGrpSpPr/>
            <p:nvPr/>
          </p:nvGrpSpPr>
          <p:grpSpPr>
            <a:xfrm>
              <a:off x="2580831" y="853664"/>
              <a:ext cx="1087645" cy="1087637"/>
              <a:chOff x="912987" y="3985306"/>
              <a:chExt cx="1332461" cy="1332461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FDEE9902-58B9-E663-271B-BB58A74848E8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4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9B911817-9DB4-0263-FA41-AEC7678E612B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4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999E5FCB-65CB-B522-2026-0F6DA4922B9B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8C05BF7D-AE35-D7B9-03C8-64066DAE0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0876" y="1467840"/>
              <a:ext cx="36024" cy="37274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d-ID" sz="840" dirty="0">
                <a:solidFill>
                  <a:schemeClr val="tx2"/>
                </a:solidFill>
                <a:latin typeface="Lato Light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E58142A-2050-0CD4-7B75-16BB7A0F7C10}"/>
              </a:ext>
            </a:extLst>
          </p:cNvPr>
          <p:cNvGrpSpPr/>
          <p:nvPr/>
        </p:nvGrpSpPr>
        <p:grpSpPr>
          <a:xfrm>
            <a:off x="6735805" y="4293470"/>
            <a:ext cx="815190" cy="815188"/>
            <a:chOff x="4646781" y="853661"/>
            <a:chExt cx="1087634" cy="1087633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9A4770C-F94F-EF9D-9BDD-338A315698FF}"/>
                </a:ext>
              </a:extLst>
            </p:cNvPr>
            <p:cNvGrpSpPr/>
            <p:nvPr/>
          </p:nvGrpSpPr>
          <p:grpSpPr>
            <a:xfrm>
              <a:off x="4646781" y="853661"/>
              <a:ext cx="1087634" cy="1087633"/>
              <a:chOff x="912987" y="3985306"/>
              <a:chExt cx="1332461" cy="1332461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6D5AECD-D486-A9B0-EFA1-A69AC33BE4A3}"/>
                  </a:ext>
                </a:extLst>
              </p:cNvPr>
              <p:cNvSpPr/>
              <p:nvPr/>
            </p:nvSpPr>
            <p:spPr>
              <a:xfrm>
                <a:off x="912987" y="3985306"/>
                <a:ext cx="1332461" cy="1332461"/>
              </a:xfrm>
              <a:prstGeom prst="ellipse">
                <a:avLst/>
              </a:prstGeom>
              <a:solidFill>
                <a:schemeClr val="accent3">
                  <a:alpha val="2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1634D54-DE53-3BE5-183B-B97C4A9D8B26}"/>
                  </a:ext>
                </a:extLst>
              </p:cNvPr>
              <p:cNvSpPr/>
              <p:nvPr/>
            </p:nvSpPr>
            <p:spPr>
              <a:xfrm>
                <a:off x="1008481" y="4080800"/>
                <a:ext cx="1141474" cy="1141474"/>
              </a:xfrm>
              <a:prstGeom prst="ellipse">
                <a:avLst/>
              </a:prstGeom>
              <a:solidFill>
                <a:schemeClr val="accent3">
                  <a:alpha val="3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876">
                  <a:solidFill>
                    <a:schemeClr val="bg1"/>
                  </a:solidFill>
                  <a:latin typeface="Montserrat Light" panose="00000400000000000000" pitchFamily="50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648A66DC-853C-61A9-CADE-DE3BAD54CE09}"/>
                  </a:ext>
                </a:extLst>
              </p:cNvPr>
              <p:cNvSpPr/>
              <p:nvPr/>
            </p:nvSpPr>
            <p:spPr>
              <a:xfrm>
                <a:off x="1108900" y="4181219"/>
                <a:ext cx="940635" cy="94063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4500" dirty="0">
                  <a:solidFill>
                    <a:schemeClr val="bg1"/>
                  </a:solidFill>
                  <a:latin typeface="Montserrat SemiBold" panose="00000700000000000000" pitchFamily="2" charset="0"/>
                </a:endParaRPr>
              </a:p>
            </p:txBody>
          </p:sp>
        </p:grpSp>
        <p:sp>
          <p:nvSpPr>
            <p:cNvPr id="41" name="Freeform 51">
              <a:extLst>
                <a:ext uri="{FF2B5EF4-FFF2-40B4-BE49-F238E27FC236}">
                  <a16:creationId xmlns:a16="http://schemas.microsoft.com/office/drawing/2014/main" id="{A17130CC-5763-0B39-3882-B99A4B716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2720" y="1304329"/>
              <a:ext cx="128539" cy="8410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45" name="Star: 5 Points 44">
            <a:extLst>
              <a:ext uri="{FF2B5EF4-FFF2-40B4-BE49-F238E27FC236}">
                <a16:creationId xmlns:a16="http://schemas.microsoft.com/office/drawing/2014/main" id="{20A1E52F-2062-EA6B-B0FD-005E010E1ACA}"/>
              </a:ext>
            </a:extLst>
          </p:cNvPr>
          <p:cNvSpPr/>
          <p:nvPr/>
        </p:nvSpPr>
        <p:spPr>
          <a:xfrm>
            <a:off x="4846886" y="2464507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Star: 5 Points 45">
            <a:extLst>
              <a:ext uri="{FF2B5EF4-FFF2-40B4-BE49-F238E27FC236}">
                <a16:creationId xmlns:a16="http://schemas.microsoft.com/office/drawing/2014/main" id="{64965878-3093-62AE-7C37-A25C81EFFFA7}"/>
              </a:ext>
            </a:extLst>
          </p:cNvPr>
          <p:cNvSpPr/>
          <p:nvPr/>
        </p:nvSpPr>
        <p:spPr>
          <a:xfrm>
            <a:off x="6958357" y="2464507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A39B4116-3988-58E0-A0A2-7C495601351A}"/>
              </a:ext>
            </a:extLst>
          </p:cNvPr>
          <p:cNvSpPr/>
          <p:nvPr/>
        </p:nvSpPr>
        <p:spPr>
          <a:xfrm>
            <a:off x="4846886" y="4513954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Star: 5 Points 47">
            <a:extLst>
              <a:ext uri="{FF2B5EF4-FFF2-40B4-BE49-F238E27FC236}">
                <a16:creationId xmlns:a16="http://schemas.microsoft.com/office/drawing/2014/main" id="{E4F68E19-6267-36B8-D758-86F685A1436A}"/>
              </a:ext>
            </a:extLst>
          </p:cNvPr>
          <p:cNvSpPr/>
          <p:nvPr/>
        </p:nvSpPr>
        <p:spPr>
          <a:xfrm>
            <a:off x="6958357" y="4513954"/>
            <a:ext cx="324728" cy="324728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402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9</TotalTime>
  <Words>110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Bebas Neue Bold</vt:lpstr>
      <vt:lpstr>Calibri</vt:lpstr>
      <vt:lpstr>Courier New</vt:lpstr>
      <vt:lpstr>Crimson Pro</vt:lpstr>
      <vt:lpstr>Lato Light</vt:lpstr>
      <vt:lpstr>Montserrat Light</vt:lpstr>
      <vt:lpstr>Montserrat SemiBold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5</cp:revision>
  <dcterms:created xsi:type="dcterms:W3CDTF">2021-03-31T02:49:57Z</dcterms:created>
  <dcterms:modified xsi:type="dcterms:W3CDTF">2025-10-15T08:32:26Z</dcterms:modified>
  <cp:category/>
</cp:coreProperties>
</file>